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9144000" cy="6858000" type="screen4x3"/>
  <p:notesSz cx="9928225" cy="14357350"/>
  <p:custDataLst>
    <p:tags r:id="rId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2B12C44-E729-4120-8284-C5EC35A62455}" v="32" dt="2022-02-02T16:07:14.79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81" d="100"/>
          <a:sy n="81" d="100"/>
        </p:scale>
        <p:origin x="1498" y="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microsoft.com/office/2015/10/relationships/revisionInfo" Target="revisionInfo.xml"/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cs-CZ"/>
              <a:t>Kliknutím lze upravit styl předlohy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7488895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7368844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1559410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59833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89838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5652414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3937197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93023832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33830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038296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/>
              <a:t>Kliknutím lze upravit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583581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F1809DE-DFFF-4F49-8B53-AF7A1206CC2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1845613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15" imgW="499" imgH="499" progId="TCLayout.ActiveDocument.1">
                  <p:embed/>
                </p:oleObj>
              </mc:Choice>
              <mc:Fallback>
                <p:oleObj name="think-cell Slide" r:id="rId1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/>
              <a:t>Kliknutím lze upravit styly předlohy textu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47AC1BC-4964-40F9-83F0-FB41127B36C6}" type="datetimeFigureOut">
              <a:rPr lang="cs-CZ" smtClean="0"/>
              <a:t>04.02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35F641F-AF54-4B12-BB97-697E1003F027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870346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7517EA28-2157-43DB-A0DB-32416A22DD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89076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99" imgH="499" progId="TCLayout.ActiveDocument.1">
                  <p:embed/>
                </p:oleObj>
              </mc:Choice>
              <mc:Fallback>
                <p:oleObj name="think-cell Slide" r:id="rId4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2420888"/>
          </a:xfrm>
        </p:spPr>
        <p:txBody>
          <a:bodyPr vert="horz">
            <a:normAutofit fontScale="90000"/>
          </a:bodyPr>
          <a:lstStyle/>
          <a:p>
            <a:pPr algn="l"/>
            <a:r>
              <a:rPr lang="cs-CZ" sz="1800" dirty="0"/>
              <a:t>                         </a:t>
            </a:r>
            <a:r>
              <a:rPr lang="cs-CZ" sz="2700" dirty="0"/>
              <a:t>Sbor dobrovolných hasičů v Podbrdech vás zve na</a:t>
            </a:r>
            <a:br>
              <a:rPr lang="cs-CZ" sz="2700" dirty="0"/>
            </a:br>
            <a:r>
              <a:rPr lang="cs-CZ" sz="53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4. PODBRDSKÝ</a:t>
            </a:r>
            <a:br>
              <a:rPr lang="cs-CZ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cs-CZ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                                    </a:t>
            </a:r>
            <a:r>
              <a:rPr lang="cs-CZ" sz="5300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ASOPUST</a:t>
            </a:r>
            <a:r>
              <a:rPr lang="cs-CZ" b="1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br>
              <a:rPr lang="cs-CZ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endParaRPr lang="cs-CZ" sz="1800" dirty="0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3923928" y="1988840"/>
            <a:ext cx="5436096" cy="5112568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cs-CZ" sz="3200" b="1" dirty="0"/>
              <a:t> 	     PODBRDY</a:t>
            </a:r>
          </a:p>
          <a:p>
            <a:pPr marL="0" indent="0">
              <a:buNone/>
            </a:pPr>
            <a:r>
              <a:rPr lang="cs-CZ" sz="3200" b="1" dirty="0"/>
              <a:t>      </a:t>
            </a:r>
            <a:r>
              <a:rPr lang="cs-CZ" sz="3200" b="1" dirty="0">
                <a:solidFill>
                  <a:srgbClr val="0070C0"/>
                </a:solidFill>
              </a:rPr>
              <a:t>v  sobotu    12. 2. 2022</a:t>
            </a:r>
          </a:p>
          <a:p>
            <a:pPr marL="0" indent="0">
              <a:buNone/>
            </a:pPr>
            <a:r>
              <a:rPr lang="cs-CZ" sz="3200" b="1" dirty="0">
                <a:solidFill>
                  <a:srgbClr val="0070C0"/>
                </a:solidFill>
              </a:rPr>
              <a:t>     od 11h  na hřišti za OÚ</a:t>
            </a:r>
          </a:p>
          <a:p>
            <a:pPr marL="0" indent="0">
              <a:buNone/>
            </a:pPr>
            <a:r>
              <a:rPr lang="cs-CZ" sz="3200" b="1" dirty="0"/>
              <a:t>Program :	povolení starosty</a:t>
            </a:r>
          </a:p>
          <a:p>
            <a:pPr marL="0" indent="0">
              <a:buNone/>
            </a:pPr>
            <a:r>
              <a:rPr lang="cs-CZ" sz="3200" b="1" dirty="0"/>
              <a:t>Soutěž masek – dětí i dospělých</a:t>
            </a:r>
          </a:p>
          <a:p>
            <a:pPr marL="0" indent="0">
              <a:buNone/>
            </a:pPr>
            <a:r>
              <a:rPr lang="cs-CZ" sz="3200" b="1" dirty="0"/>
              <a:t>    Fraška </a:t>
            </a:r>
            <a:r>
              <a:rPr lang="cs-CZ" sz="3200" b="1" dirty="0" err="1"/>
              <a:t>osovských</a:t>
            </a:r>
            <a:r>
              <a:rPr lang="cs-CZ" sz="3200" b="1" dirty="0"/>
              <a:t> ochotníků</a:t>
            </a:r>
          </a:p>
          <a:p>
            <a:pPr marL="0" indent="0">
              <a:buNone/>
            </a:pPr>
            <a:r>
              <a:rPr lang="cs-CZ" sz="3200" b="1" dirty="0"/>
              <a:t>Zabíjačka – výrobky k zakoupení</a:t>
            </a:r>
          </a:p>
          <a:p>
            <a:pPr marL="0" indent="0">
              <a:buNone/>
            </a:pPr>
            <a:r>
              <a:rPr lang="cs-CZ" sz="3200" b="1" dirty="0">
                <a:solidFill>
                  <a:srgbClr val="0070C0"/>
                </a:solidFill>
              </a:rPr>
              <a:t>   12h zahájení průvodu masek</a:t>
            </a:r>
            <a:r>
              <a:rPr lang="cs-CZ" sz="3200" b="1" dirty="0"/>
              <a:t> </a:t>
            </a:r>
          </a:p>
          <a:p>
            <a:pPr marL="0" indent="0">
              <a:buNone/>
            </a:pPr>
            <a:r>
              <a:rPr lang="cs-CZ" sz="3200" b="1" dirty="0"/>
              <a:t> v  průvodu hraje Veselá čtyřka</a:t>
            </a:r>
          </a:p>
          <a:p>
            <a:pPr marL="0" indent="0">
              <a:buNone/>
            </a:pPr>
            <a:r>
              <a:rPr lang="cs-CZ" sz="3200" b="1" dirty="0"/>
              <a:t>       </a:t>
            </a:r>
          </a:p>
          <a:p>
            <a:pPr marL="0" indent="0">
              <a:buNone/>
            </a:pPr>
            <a:endParaRPr lang="cs-CZ" sz="3200" b="1" dirty="0"/>
          </a:p>
          <a:p>
            <a:pPr marL="0" indent="0">
              <a:buNone/>
            </a:pPr>
            <a:endParaRPr lang="cs-CZ" sz="3200" b="1" dirty="0"/>
          </a:p>
          <a:p>
            <a:pPr marL="0" indent="0">
              <a:buNone/>
            </a:pPr>
            <a:endParaRPr lang="cs-CZ" sz="3200" b="1" dirty="0"/>
          </a:p>
        </p:txBody>
      </p:sp>
      <p:pic>
        <p:nvPicPr>
          <p:cNvPr id="1026" name="Picture 2" descr="C:\Users\ne01czpr\AppData\Local\Microsoft\Windows\Temporary Internet Files\Content.IE5\3QEL7OPY\Karel-Svolinský-Český-rok-1960-Masopust-2[1].jpg"/>
          <p:cNvPicPr>
            <a:picLocks noGrp="1" noChangeAspect="1" noChangeArrowheads="1"/>
          </p:cNvPicPr>
          <p:nvPr>
            <p:ph sz="half" idx="1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08520" y="1267986"/>
            <a:ext cx="4104456" cy="561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1378230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</TotalTime>
  <Words>68</Words>
  <Application>Microsoft Office PowerPoint</Application>
  <PresentationFormat>Předvádění na obrazovce (4:3)</PresentationFormat>
  <Paragraphs>12</Paragraphs>
  <Slides>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2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5" baseType="lpstr">
      <vt:lpstr>Arial</vt:lpstr>
      <vt:lpstr>Calibri</vt:lpstr>
      <vt:lpstr>Motiv systému Office</vt:lpstr>
      <vt:lpstr>think-cell Slide</vt:lpstr>
      <vt:lpstr>                         Sbor dobrovolných hasičů v Podbrdech vás zve na 4. PODBRDSKÝ                                      MASOPUST  </vt:lpstr>
    </vt:vector>
  </TitlesOfParts>
  <Company>SABMille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bor dobrovolných hasičů vás zve na 2. PODBRDSKÝ                                   MASOPUST</dc:title>
  <dc:creator>Nadezda Eliaskova</dc:creator>
  <cp:lastModifiedBy>Naděžda Eliášková</cp:lastModifiedBy>
  <cp:revision>8</cp:revision>
  <cp:lastPrinted>2019-01-24T14:18:04Z</cp:lastPrinted>
  <dcterms:created xsi:type="dcterms:W3CDTF">2019-01-22T11:39:48Z</dcterms:created>
  <dcterms:modified xsi:type="dcterms:W3CDTF">2022-02-04T12:50:5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everlance.DocumentTagging.ClassificationMark.P00">
    <vt:lpwstr>&lt;ClassificationMark xmlns:xsi="http://www.w3.org/2001/XMLSchema-instance" xmlns:xsd="http://www.w3.org/2001/XMLSchema" margin="NaN" class="C2" owner="Nadezda Eliaskova" position="BottomMiddle" marginX="0" marginY="0" classifiedOn="2019-01-22T12:39:49</vt:lpwstr>
  </property>
  <property fmtid="{D5CDD505-2E9C-101B-9397-08002B2CF9AE}" pid="3" name="Cleverlance.DocumentTagging.ClassificationMark.P01">
    <vt:lpwstr>.0107708+01:00" showPrintedBy="true" showPrintDate="true" language="cs" ApplicationVersion="Microsoft PowerPoint, 14.0" addinVersion="5.2.2.2" template="Black"&gt;&lt;history bulk="false" class="PP - Internal use only / Pouze pro interní účely" code="C2" u</vt:lpwstr>
  </property>
  <property fmtid="{D5CDD505-2E9C-101B-9397-08002B2CF9AE}" pid="4" name="Cleverlance.DocumentTagging.ClassificationMark.P02">
    <vt:lpwstr>ser="Nadezda Eliaskova" date="2019-01-22T13:05:43.0138923+01:00" note="" /&gt;&lt;recipients /&gt;&lt;documentOwners /&gt;&lt;/ClassificationMark&gt;</vt:lpwstr>
  </property>
  <property fmtid="{D5CDD505-2E9C-101B-9397-08002B2CF9AE}" pid="5" name="Cleverlance.DocumentTagging.ClassificationMark">
    <vt:lpwstr>￼PARTS:3</vt:lpwstr>
  </property>
  <property fmtid="{D5CDD505-2E9C-101B-9397-08002B2CF9AE}" pid="6" name="DocumentClasification">
    <vt:lpwstr>PP - Internal use only / Pouze pro interní účely</vt:lpwstr>
  </property>
</Properties>
</file>